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9144000" cy="6858000" type="screen4x3"/>
  <p:notesSz cx="6858000" cy="9144000"/>
  <p:custDataLst>
    <p:tags r:id="rId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11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4268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9168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40322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0270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70752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0433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2564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6529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2187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0233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08170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358946-0E34-4485-B701-26154A3B2DD1}" type="datetimeFigureOut">
              <a:rPr lang="cs-CZ" smtClean="0"/>
              <a:t>23.5.2016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067B90-2DAC-4A58-8633-25D9BAEC2B2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6832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image" Target="../media/image1.emf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oleObject" Target="../embeddings/oleObject1.bin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CinemaSea</a:t>
            </a: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 smtClean="0"/>
              <a:t>Testovací situace pro vstupy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83618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1043608" y="3465004"/>
            <a:ext cx="70567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4427984" y="2780928"/>
            <a:ext cx="3672408" cy="0"/>
          </a:xfrm>
          <a:prstGeom prst="line">
            <a:avLst/>
          </a:prstGeom>
          <a:ln w="38100">
            <a:headEnd type="oval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427984" y="3284984"/>
            <a:ext cx="0" cy="360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004048" y="3284984"/>
            <a:ext cx="0" cy="360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851920" y="3284984"/>
            <a:ext cx="0" cy="360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4716016" y="3655842"/>
            <a:ext cx="57606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cs-CZ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563888" y="3655842"/>
            <a:ext cx="57606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1</a:t>
            </a:r>
            <a:endParaRPr lang="cs-CZ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139952" y="3655842"/>
            <a:ext cx="57606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cs-CZ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1187624" y="4365104"/>
            <a:ext cx="3240360" cy="0"/>
          </a:xfrm>
          <a:prstGeom prst="line">
            <a:avLst/>
          </a:prstGeom>
          <a:ln w="38100"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4355976" y="4293096"/>
            <a:ext cx="144016" cy="14401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519772" y="4437112"/>
            <a:ext cx="57606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řída ekvivalence A</a:t>
            </a:r>
            <a:endParaRPr lang="cs-CZ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976156" y="2132856"/>
            <a:ext cx="576064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řída ekvivalence B</a:t>
            </a:r>
            <a:endParaRPr lang="cs-CZ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809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43608" y="2132856"/>
            <a:ext cx="7056784" cy="2808312"/>
            <a:chOff x="1043608" y="2132856"/>
            <a:chExt cx="7056784" cy="280831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043608" y="3465004"/>
              <a:ext cx="705678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4427984" y="2780928"/>
              <a:ext cx="3672408" cy="0"/>
            </a:xfrm>
            <a:prstGeom prst="line">
              <a:avLst/>
            </a:prstGeom>
            <a:ln w="38100">
              <a:headEnd type="oval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4427984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004048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3851920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4716016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cs-CZ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9</a:t>
              </a:r>
              <a:endParaRPr lang="cs-CZ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563888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1</a:t>
              </a:r>
            </a:p>
            <a:p>
              <a:pPr algn="ctr"/>
              <a:r>
                <a:rPr lang="cs-CZ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7</a:t>
              </a:r>
              <a:endParaRPr lang="cs-CZ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139952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cs-CZ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8</a:t>
              </a:r>
              <a:endParaRPr lang="cs-CZ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H="1">
              <a:off x="1187624" y="4365104"/>
              <a:ext cx="3240360" cy="0"/>
            </a:xfrm>
            <a:prstGeom prst="line">
              <a:avLst/>
            </a:prstGeom>
            <a:ln w="38100"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19"/>
            <p:cNvSpPr/>
            <p:nvPr/>
          </p:nvSpPr>
          <p:spPr>
            <a:xfrm>
              <a:off x="4355976" y="4293096"/>
              <a:ext cx="144016" cy="14401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519772" y="443711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řída ekvivalence A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976156" y="2132856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řída ekvivalence 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6989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043608" y="2132856"/>
            <a:ext cx="7056784" cy="2808312"/>
            <a:chOff x="1043608" y="2132856"/>
            <a:chExt cx="7056784" cy="2808312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1043608" y="3465004"/>
              <a:ext cx="705678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2555776" y="2780928"/>
              <a:ext cx="3672408" cy="0"/>
            </a:xfrm>
            <a:prstGeom prst="line">
              <a:avLst/>
            </a:prstGeom>
            <a:ln w="38100"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555776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3131840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1979712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2843808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1901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691680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1</a:t>
              </a:r>
            </a:p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1899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267744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cs-CZ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1900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H="1">
              <a:off x="1187624" y="4365104"/>
              <a:ext cx="1332148" cy="0"/>
            </a:xfrm>
            <a:prstGeom prst="line">
              <a:avLst/>
            </a:prstGeom>
            <a:ln w="38100"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19"/>
            <p:cNvSpPr/>
            <p:nvPr/>
          </p:nvSpPr>
          <p:spPr>
            <a:xfrm>
              <a:off x="2483768" y="4293096"/>
              <a:ext cx="144016" cy="14401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277634" y="443711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řída ekvivalence A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103948" y="2132856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řída ekvivalence B</a:t>
              </a:r>
            </a:p>
          </p:txBody>
        </p:sp>
        <p:cxnSp>
          <p:nvCxnSpPr>
            <p:cNvPr id="18" name="Straight Connector 17"/>
            <p:cNvCxnSpPr>
              <a:stCxn id="19" idx="6"/>
            </p:cNvCxnSpPr>
            <p:nvPr/>
          </p:nvCxnSpPr>
          <p:spPr>
            <a:xfrm>
              <a:off x="6300192" y="4365104"/>
              <a:ext cx="1800200" cy="0"/>
            </a:xfrm>
            <a:prstGeom prst="line">
              <a:avLst/>
            </a:prstGeom>
            <a:ln w="38100"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/>
          </p:nvSpPr>
          <p:spPr>
            <a:xfrm>
              <a:off x="6156176" y="4293096"/>
              <a:ext cx="144016" cy="14401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100168" y="443711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řída ekvivalence A</a:t>
              </a: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6228184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804248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5652120" y="3284984"/>
              <a:ext cx="0" cy="36004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/>
            <p:cNvSpPr/>
            <p:nvPr/>
          </p:nvSpPr>
          <p:spPr>
            <a:xfrm>
              <a:off x="6588224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‘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(Current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+1)</a:t>
              </a:r>
              <a:endParaRPr lang="cs-CZ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292080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1‘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Current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-1)</a:t>
              </a:r>
              <a:endParaRPr lang="cs-CZ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40152" y="3655842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de-DE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‘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(Current</a:t>
              </a:r>
            </a:p>
            <a:p>
              <a:pPr algn="ctr"/>
              <a:r>
                <a:rPr lang="cs-CZ" sz="10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)</a:t>
              </a:r>
              <a:endParaRPr lang="cs-CZ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6200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" name="Object 1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4979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7" imgW="420" imgH="420" progId="TCLayout.ActiveDocument.1">
                  <p:embed/>
                </p:oleObj>
              </mc:Choice>
              <mc:Fallback>
                <p:oleObj name="think-cell Slide" r:id="rId67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7" name="Group 236"/>
          <p:cNvGrpSpPr/>
          <p:nvPr/>
        </p:nvGrpSpPr>
        <p:grpSpPr>
          <a:xfrm>
            <a:off x="1017700" y="260648"/>
            <a:ext cx="6752380" cy="5688632"/>
            <a:chOff x="1017700" y="260648"/>
            <a:chExt cx="6752380" cy="5688632"/>
          </a:xfrm>
        </p:grpSpPr>
        <p:cxnSp>
          <p:nvCxnSpPr>
            <p:cNvPr id="139" name="Straight Connector 138"/>
            <p:cNvCxnSpPr>
              <a:stCxn id="11" idx="3"/>
              <a:endCxn id="5" idx="0"/>
            </p:cNvCxnSpPr>
            <p:nvPr>
              <p:custDataLst>
                <p:tags r:id="rId3"/>
              </p:custDataLst>
            </p:nvPr>
          </p:nvCxnSpPr>
          <p:spPr>
            <a:xfrm flipH="1">
              <a:off x="4608004" y="1772816"/>
              <a:ext cx="144016" cy="381642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Oval 3"/>
            <p:cNvSpPr/>
            <p:nvPr>
              <p:custDataLst>
                <p:tags r:id="rId4"/>
              </p:custDataLst>
            </p:nvPr>
          </p:nvSpPr>
          <p:spPr>
            <a:xfrm>
              <a:off x="4499992" y="404664"/>
              <a:ext cx="216024" cy="2160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" name="Oval 4"/>
            <p:cNvSpPr/>
            <p:nvPr>
              <p:custDataLst>
                <p:tags r:id="rId5"/>
              </p:custDataLst>
            </p:nvPr>
          </p:nvSpPr>
          <p:spPr>
            <a:xfrm>
              <a:off x="4499992" y="5589240"/>
              <a:ext cx="216024" cy="2160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Rectangle 6"/>
            <p:cNvSpPr/>
            <p:nvPr>
              <p:custDataLst>
                <p:tags r:id="rId6"/>
              </p:custDataLst>
            </p:nvPr>
          </p:nvSpPr>
          <p:spPr>
            <a:xfrm>
              <a:off x="4716016" y="260648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</a:t>
              </a:r>
            </a:p>
          </p:txBody>
        </p:sp>
        <p:sp>
          <p:nvSpPr>
            <p:cNvPr id="8" name="Rectangle 7"/>
            <p:cNvSpPr/>
            <p:nvPr>
              <p:custDataLst>
                <p:tags r:id="rId7"/>
              </p:custDataLst>
            </p:nvPr>
          </p:nvSpPr>
          <p:spPr>
            <a:xfrm>
              <a:off x="4716016" y="5445224"/>
              <a:ext cx="576064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nec</a:t>
              </a:r>
            </a:p>
          </p:txBody>
        </p:sp>
        <p:sp>
          <p:nvSpPr>
            <p:cNvPr id="9" name="Diamond 8"/>
            <p:cNvSpPr/>
            <p:nvPr>
              <p:custDataLst>
                <p:tags r:id="rId8"/>
              </p:custDataLst>
            </p:nvPr>
          </p:nvSpPr>
          <p:spPr>
            <a:xfrm>
              <a:off x="3707904" y="976760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0" name="Diamond 9"/>
            <p:cNvSpPr/>
            <p:nvPr>
              <p:custDataLst>
                <p:tags r:id="rId9"/>
              </p:custDataLst>
            </p:nvPr>
          </p:nvSpPr>
          <p:spPr>
            <a:xfrm>
              <a:off x="5237460" y="976760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1" name="Diamond 10"/>
            <p:cNvSpPr/>
            <p:nvPr>
              <p:custDataLst>
                <p:tags r:id="rId10"/>
              </p:custDataLst>
            </p:nvPr>
          </p:nvSpPr>
          <p:spPr>
            <a:xfrm>
              <a:off x="4463988" y="1628800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cxnSp>
          <p:nvCxnSpPr>
            <p:cNvPr id="12" name="Straight Connector 11"/>
            <p:cNvCxnSpPr>
              <a:stCxn id="4" idx="5"/>
              <a:endCxn id="10" idx="0"/>
            </p:cNvCxnSpPr>
            <p:nvPr>
              <p:custDataLst>
                <p:tags r:id="rId11"/>
              </p:custDataLst>
            </p:nvPr>
          </p:nvCxnSpPr>
          <p:spPr>
            <a:xfrm>
              <a:off x="4684380" y="589052"/>
              <a:ext cx="697096" cy="387708"/>
            </a:xfrm>
            <a:prstGeom prst="line">
              <a:avLst/>
            </a:prstGeom>
            <a:ln w="12700">
              <a:solidFill>
                <a:srgbClr val="92D050"/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Diamond 15"/>
            <p:cNvSpPr/>
            <p:nvPr>
              <p:custDataLst>
                <p:tags r:id="rId12"/>
              </p:custDataLst>
            </p:nvPr>
          </p:nvSpPr>
          <p:spPr>
            <a:xfrm>
              <a:off x="5724128" y="227687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7" name="Diamond 16"/>
            <p:cNvSpPr/>
            <p:nvPr>
              <p:custDataLst>
                <p:tags r:id="rId13"/>
              </p:custDataLst>
            </p:nvPr>
          </p:nvSpPr>
          <p:spPr>
            <a:xfrm>
              <a:off x="3275856" y="227687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8" name="Diamond 17"/>
            <p:cNvSpPr/>
            <p:nvPr>
              <p:custDataLst>
                <p:tags r:id="rId14"/>
              </p:custDataLst>
            </p:nvPr>
          </p:nvSpPr>
          <p:spPr>
            <a:xfrm>
              <a:off x="3275856" y="371703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9" name="Diamond 18"/>
            <p:cNvSpPr/>
            <p:nvPr>
              <p:custDataLst>
                <p:tags r:id="rId15"/>
              </p:custDataLst>
            </p:nvPr>
          </p:nvSpPr>
          <p:spPr>
            <a:xfrm>
              <a:off x="4499992" y="4365104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0" name="Diamond 19"/>
            <p:cNvSpPr/>
            <p:nvPr>
              <p:custDataLst>
                <p:tags r:id="rId16"/>
              </p:custDataLst>
            </p:nvPr>
          </p:nvSpPr>
          <p:spPr>
            <a:xfrm>
              <a:off x="5724128" y="371703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cxnSp>
          <p:nvCxnSpPr>
            <p:cNvPr id="21" name="Straight Connector 20"/>
            <p:cNvCxnSpPr>
              <a:stCxn id="4" idx="3"/>
              <a:endCxn id="9" idx="0"/>
            </p:cNvCxnSpPr>
            <p:nvPr>
              <p:custDataLst>
                <p:tags r:id="rId17"/>
              </p:custDataLst>
            </p:nvPr>
          </p:nvCxnSpPr>
          <p:spPr>
            <a:xfrm flipH="1">
              <a:off x="3851920" y="589052"/>
              <a:ext cx="679708" cy="387708"/>
            </a:xfrm>
            <a:prstGeom prst="line">
              <a:avLst/>
            </a:prstGeom>
            <a:ln w="12700">
              <a:solidFill>
                <a:srgbClr val="92D050"/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>
              <a:stCxn id="9" idx="2"/>
              <a:endCxn id="11" idx="0"/>
            </p:cNvCxnSpPr>
            <p:nvPr>
              <p:custDataLst>
                <p:tags r:id="rId18"/>
              </p:custDataLst>
            </p:nvPr>
          </p:nvCxnSpPr>
          <p:spPr>
            <a:xfrm>
              <a:off x="3851920" y="1264792"/>
              <a:ext cx="756084" cy="36400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stCxn id="10" idx="2"/>
              <a:endCxn id="11" idx="0"/>
            </p:cNvCxnSpPr>
            <p:nvPr>
              <p:custDataLst>
                <p:tags r:id="rId19"/>
              </p:custDataLst>
            </p:nvPr>
          </p:nvCxnSpPr>
          <p:spPr>
            <a:xfrm flipH="1">
              <a:off x="4608004" y="1264792"/>
              <a:ext cx="773472" cy="36400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11" idx="1"/>
              <a:endCxn id="17" idx="0"/>
            </p:cNvCxnSpPr>
            <p:nvPr>
              <p:custDataLst>
                <p:tags r:id="rId20"/>
              </p:custDataLst>
            </p:nvPr>
          </p:nvCxnSpPr>
          <p:spPr>
            <a:xfrm flipH="1">
              <a:off x="3419872" y="1772816"/>
              <a:ext cx="1044116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stCxn id="11" idx="3"/>
              <a:endCxn id="16" idx="0"/>
            </p:cNvCxnSpPr>
            <p:nvPr>
              <p:custDataLst>
                <p:tags r:id="rId21"/>
              </p:custDataLst>
            </p:nvPr>
          </p:nvCxnSpPr>
          <p:spPr>
            <a:xfrm>
              <a:off x="4752020" y="1772816"/>
              <a:ext cx="1116124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stCxn id="16" idx="2"/>
              <a:endCxn id="20" idx="0"/>
            </p:cNvCxnSpPr>
            <p:nvPr>
              <p:custDataLst>
                <p:tags r:id="rId22"/>
              </p:custDataLst>
            </p:nvPr>
          </p:nvCxnSpPr>
          <p:spPr>
            <a:xfrm>
              <a:off x="5868144" y="2564904"/>
              <a:ext cx="0" cy="115212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stCxn id="17" idx="2"/>
              <a:endCxn id="18" idx="0"/>
            </p:cNvCxnSpPr>
            <p:nvPr>
              <p:custDataLst>
                <p:tags r:id="rId23"/>
              </p:custDataLst>
            </p:nvPr>
          </p:nvCxnSpPr>
          <p:spPr>
            <a:xfrm>
              <a:off x="3419872" y="2564904"/>
              <a:ext cx="0" cy="115212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18" idx="2"/>
              <a:endCxn id="19" idx="1"/>
            </p:cNvCxnSpPr>
            <p:nvPr>
              <p:custDataLst>
                <p:tags r:id="rId24"/>
              </p:custDataLst>
            </p:nvPr>
          </p:nvCxnSpPr>
          <p:spPr>
            <a:xfrm>
              <a:off x="3419872" y="4005064"/>
              <a:ext cx="1080120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>
              <a:stCxn id="20" idx="2"/>
              <a:endCxn id="19" idx="3"/>
            </p:cNvCxnSpPr>
            <p:nvPr>
              <p:custDataLst>
                <p:tags r:id="rId25"/>
              </p:custDataLst>
            </p:nvPr>
          </p:nvCxnSpPr>
          <p:spPr>
            <a:xfrm flipH="1">
              <a:off x="4788024" y="4005064"/>
              <a:ext cx="1080120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stCxn id="16" idx="1"/>
              <a:endCxn id="11" idx="2"/>
            </p:cNvCxnSpPr>
            <p:nvPr>
              <p:custDataLst>
                <p:tags r:id="rId26"/>
              </p:custDataLst>
            </p:nvPr>
          </p:nvCxnSpPr>
          <p:spPr>
            <a:xfrm flipH="1" flipV="1">
              <a:off x="4608004" y="1916832"/>
              <a:ext cx="1116124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17" idx="3"/>
              <a:endCxn id="11" idx="2"/>
            </p:cNvCxnSpPr>
            <p:nvPr>
              <p:custDataLst>
                <p:tags r:id="rId27"/>
              </p:custDataLst>
            </p:nvPr>
          </p:nvCxnSpPr>
          <p:spPr>
            <a:xfrm flipV="1">
              <a:off x="3563888" y="1916832"/>
              <a:ext cx="1044116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19" idx="0"/>
              <a:endCxn id="18" idx="3"/>
            </p:cNvCxnSpPr>
            <p:nvPr>
              <p:custDataLst>
                <p:tags r:id="rId28"/>
              </p:custDataLst>
            </p:nvPr>
          </p:nvCxnSpPr>
          <p:spPr>
            <a:xfrm flipH="1" flipV="1">
              <a:off x="3563888" y="3861048"/>
              <a:ext cx="1080120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stCxn id="19" idx="0"/>
              <a:endCxn id="20" idx="1"/>
            </p:cNvCxnSpPr>
            <p:nvPr>
              <p:custDataLst>
                <p:tags r:id="rId29"/>
              </p:custDataLst>
            </p:nvPr>
          </p:nvCxnSpPr>
          <p:spPr>
            <a:xfrm flipV="1">
              <a:off x="4644008" y="3861048"/>
              <a:ext cx="1080120" cy="5040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>
              <a:stCxn id="18" idx="1"/>
              <a:endCxn id="17" idx="1"/>
            </p:cNvCxnSpPr>
            <p:nvPr>
              <p:custDataLst>
                <p:tags r:id="rId30"/>
              </p:custDataLst>
            </p:nvPr>
          </p:nvCxnSpPr>
          <p:spPr>
            <a:xfrm flipV="1">
              <a:off x="3275856" y="2420888"/>
              <a:ext cx="0" cy="144016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20" idx="3"/>
              <a:endCxn id="16" idx="3"/>
            </p:cNvCxnSpPr>
            <p:nvPr>
              <p:custDataLst>
                <p:tags r:id="rId31"/>
              </p:custDataLst>
            </p:nvPr>
          </p:nvCxnSpPr>
          <p:spPr>
            <a:xfrm flipV="1">
              <a:off x="6012160" y="2420888"/>
              <a:ext cx="0" cy="144016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17" idx="3"/>
              <a:endCxn id="20" idx="1"/>
            </p:cNvCxnSpPr>
            <p:nvPr>
              <p:custDataLst>
                <p:tags r:id="rId32"/>
              </p:custDataLst>
            </p:nvPr>
          </p:nvCxnSpPr>
          <p:spPr>
            <a:xfrm>
              <a:off x="3563888" y="2420888"/>
              <a:ext cx="2160240" cy="144016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>
              <a:stCxn id="11" idx="2"/>
              <a:endCxn id="19" idx="0"/>
            </p:cNvCxnSpPr>
            <p:nvPr>
              <p:custDataLst>
                <p:tags r:id="rId33"/>
              </p:custDataLst>
            </p:nvPr>
          </p:nvCxnSpPr>
          <p:spPr>
            <a:xfrm>
              <a:off x="4608004" y="1916832"/>
              <a:ext cx="36004" cy="2448272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>
              <a:stCxn id="16" idx="1"/>
              <a:endCxn id="18" idx="3"/>
            </p:cNvCxnSpPr>
            <p:nvPr>
              <p:custDataLst>
                <p:tags r:id="rId34"/>
              </p:custDataLst>
            </p:nvPr>
          </p:nvCxnSpPr>
          <p:spPr>
            <a:xfrm flipH="1">
              <a:off x="3563888" y="2420888"/>
              <a:ext cx="2160240" cy="144016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18" idx="0"/>
              <a:endCxn id="16" idx="2"/>
            </p:cNvCxnSpPr>
            <p:nvPr>
              <p:custDataLst>
                <p:tags r:id="rId35"/>
              </p:custDataLst>
            </p:nvPr>
          </p:nvCxnSpPr>
          <p:spPr>
            <a:xfrm flipV="1">
              <a:off x="3419872" y="2564904"/>
              <a:ext cx="2448272" cy="115212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>
              <a:stCxn id="20" idx="0"/>
              <a:endCxn id="17" idx="2"/>
            </p:cNvCxnSpPr>
            <p:nvPr>
              <p:custDataLst>
                <p:tags r:id="rId36"/>
              </p:custDataLst>
            </p:nvPr>
          </p:nvCxnSpPr>
          <p:spPr>
            <a:xfrm flipH="1" flipV="1">
              <a:off x="3419872" y="2564904"/>
              <a:ext cx="2448272" cy="115212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>
              <a:stCxn id="19" idx="0"/>
              <a:endCxn id="11" idx="2"/>
            </p:cNvCxnSpPr>
            <p:nvPr>
              <p:custDataLst>
                <p:tags r:id="rId37"/>
              </p:custDataLst>
            </p:nvPr>
          </p:nvCxnSpPr>
          <p:spPr>
            <a:xfrm flipH="1" flipV="1">
              <a:off x="4608004" y="1916832"/>
              <a:ext cx="36004" cy="2448272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Diamond 91"/>
            <p:cNvSpPr/>
            <p:nvPr>
              <p:custDataLst>
                <p:tags r:id="rId38"/>
              </p:custDataLst>
            </p:nvPr>
          </p:nvSpPr>
          <p:spPr>
            <a:xfrm>
              <a:off x="6588224" y="425709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3" name="Diamond 92"/>
            <p:cNvSpPr/>
            <p:nvPr>
              <p:custDataLst>
                <p:tags r:id="rId39"/>
              </p:custDataLst>
            </p:nvPr>
          </p:nvSpPr>
          <p:spPr>
            <a:xfrm>
              <a:off x="6432748" y="1733116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4" name="Diamond 93"/>
            <p:cNvSpPr/>
            <p:nvPr>
              <p:custDataLst>
                <p:tags r:id="rId40"/>
              </p:custDataLst>
            </p:nvPr>
          </p:nvSpPr>
          <p:spPr>
            <a:xfrm>
              <a:off x="2339752" y="1613632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5" name="Diamond 94"/>
            <p:cNvSpPr/>
            <p:nvPr>
              <p:custDataLst>
                <p:tags r:id="rId41"/>
              </p:custDataLst>
            </p:nvPr>
          </p:nvSpPr>
          <p:spPr>
            <a:xfrm>
              <a:off x="1907704" y="4221088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6" name="Diamond 95"/>
            <p:cNvSpPr/>
            <p:nvPr>
              <p:custDataLst>
                <p:tags r:id="rId42"/>
              </p:custDataLst>
            </p:nvPr>
          </p:nvSpPr>
          <p:spPr>
            <a:xfrm>
              <a:off x="5868144" y="5064968"/>
              <a:ext cx="288032" cy="288032"/>
            </a:xfrm>
            <a:prstGeom prst="diamon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cxnSp>
          <p:nvCxnSpPr>
            <p:cNvPr id="97" name="Straight Connector 96"/>
            <p:cNvCxnSpPr>
              <a:stCxn id="20" idx="3"/>
              <a:endCxn id="92" idx="0"/>
            </p:cNvCxnSpPr>
            <p:nvPr>
              <p:custDataLst>
                <p:tags r:id="rId43"/>
              </p:custDataLst>
            </p:nvPr>
          </p:nvCxnSpPr>
          <p:spPr>
            <a:xfrm>
              <a:off x="6012160" y="3861048"/>
              <a:ext cx="720080" cy="396044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stCxn id="96" idx="0"/>
              <a:endCxn id="19" idx="3"/>
            </p:cNvCxnSpPr>
            <p:nvPr>
              <p:custDataLst>
                <p:tags r:id="rId44"/>
              </p:custDataLst>
            </p:nvPr>
          </p:nvCxnSpPr>
          <p:spPr>
            <a:xfrm flipH="1" flipV="1">
              <a:off x="4788024" y="4509120"/>
              <a:ext cx="1224136" cy="55584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9" idx="2"/>
              <a:endCxn id="96" idx="1"/>
            </p:cNvCxnSpPr>
            <p:nvPr>
              <p:custDataLst>
                <p:tags r:id="rId45"/>
              </p:custDataLst>
            </p:nvPr>
          </p:nvCxnSpPr>
          <p:spPr>
            <a:xfrm>
              <a:off x="4644008" y="4653136"/>
              <a:ext cx="1224136" cy="55584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>
              <a:stCxn id="92" idx="1"/>
              <a:endCxn id="20" idx="2"/>
            </p:cNvCxnSpPr>
            <p:nvPr>
              <p:custDataLst>
                <p:tags r:id="rId46"/>
              </p:custDataLst>
            </p:nvPr>
          </p:nvCxnSpPr>
          <p:spPr>
            <a:xfrm flipH="1" flipV="1">
              <a:off x="5868144" y="4005064"/>
              <a:ext cx="720080" cy="396044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stCxn id="16" idx="3"/>
              <a:endCxn id="93" idx="2"/>
            </p:cNvCxnSpPr>
            <p:nvPr>
              <p:custDataLst>
                <p:tags r:id="rId47"/>
              </p:custDataLst>
            </p:nvPr>
          </p:nvCxnSpPr>
          <p:spPr>
            <a:xfrm flipV="1">
              <a:off x="6012160" y="2021148"/>
              <a:ext cx="564604" cy="39974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93" idx="1"/>
              <a:endCxn id="16" idx="0"/>
            </p:cNvCxnSpPr>
            <p:nvPr>
              <p:custDataLst>
                <p:tags r:id="rId48"/>
              </p:custDataLst>
            </p:nvPr>
          </p:nvCxnSpPr>
          <p:spPr>
            <a:xfrm flipH="1">
              <a:off x="5868144" y="1877132"/>
              <a:ext cx="564604" cy="39974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7" idx="0"/>
              <a:endCxn id="94" idx="3"/>
            </p:cNvCxnSpPr>
            <p:nvPr>
              <p:custDataLst>
                <p:tags r:id="rId49"/>
              </p:custDataLst>
            </p:nvPr>
          </p:nvCxnSpPr>
          <p:spPr>
            <a:xfrm flipH="1" flipV="1">
              <a:off x="2627784" y="1757648"/>
              <a:ext cx="792088" cy="519224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94" idx="2"/>
              <a:endCxn id="17" idx="1"/>
            </p:cNvCxnSpPr>
            <p:nvPr>
              <p:custDataLst>
                <p:tags r:id="rId50"/>
              </p:custDataLst>
            </p:nvPr>
          </p:nvCxnSpPr>
          <p:spPr>
            <a:xfrm>
              <a:off x="2483768" y="1901664"/>
              <a:ext cx="792088" cy="519224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endCxn id="18" idx="2"/>
            </p:cNvCxnSpPr>
            <p:nvPr>
              <p:custDataLst>
                <p:tags r:id="rId51"/>
              </p:custDataLst>
            </p:nvPr>
          </p:nvCxnSpPr>
          <p:spPr>
            <a:xfrm flipV="1">
              <a:off x="2195736" y="4005064"/>
              <a:ext cx="1224136" cy="396044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8" idx="1"/>
              <a:endCxn id="95" idx="0"/>
            </p:cNvCxnSpPr>
            <p:nvPr>
              <p:custDataLst>
                <p:tags r:id="rId52"/>
              </p:custDataLst>
            </p:nvPr>
          </p:nvCxnSpPr>
          <p:spPr>
            <a:xfrm flipH="1">
              <a:off x="2051720" y="3861048"/>
              <a:ext cx="1224136" cy="36004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>
              <a:stCxn id="18" idx="2"/>
              <a:endCxn id="5" idx="1"/>
            </p:cNvCxnSpPr>
            <p:nvPr>
              <p:custDataLst>
                <p:tags r:id="rId53"/>
              </p:custDataLst>
            </p:nvPr>
          </p:nvCxnSpPr>
          <p:spPr>
            <a:xfrm>
              <a:off x="3419872" y="4005064"/>
              <a:ext cx="1111756" cy="161581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>
              <a:stCxn id="17" idx="2"/>
              <a:endCxn id="5" idx="1"/>
            </p:cNvCxnSpPr>
            <p:nvPr>
              <p:custDataLst>
                <p:tags r:id="rId54"/>
              </p:custDataLst>
            </p:nvPr>
          </p:nvCxnSpPr>
          <p:spPr>
            <a:xfrm>
              <a:off x="3419872" y="2564904"/>
              <a:ext cx="1111756" cy="305597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>
              <a:stCxn id="19" idx="1"/>
              <a:endCxn id="5" idx="0"/>
            </p:cNvCxnSpPr>
            <p:nvPr>
              <p:custDataLst>
                <p:tags r:id="rId55"/>
              </p:custDataLst>
            </p:nvPr>
          </p:nvCxnSpPr>
          <p:spPr>
            <a:xfrm>
              <a:off x="4499992" y="4509120"/>
              <a:ext cx="108012" cy="108012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>
              <a:stCxn id="16" idx="1"/>
              <a:endCxn id="5" idx="7"/>
            </p:cNvCxnSpPr>
            <p:nvPr>
              <p:custDataLst>
                <p:tags r:id="rId56"/>
              </p:custDataLst>
            </p:nvPr>
          </p:nvCxnSpPr>
          <p:spPr>
            <a:xfrm flipH="1">
              <a:off x="4684380" y="2420888"/>
              <a:ext cx="1039748" cy="3199988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>
              <a:stCxn id="20" idx="1"/>
              <a:endCxn id="5" idx="7"/>
            </p:cNvCxnSpPr>
            <p:nvPr>
              <p:custDataLst>
                <p:tags r:id="rId57"/>
              </p:custDataLst>
            </p:nvPr>
          </p:nvCxnSpPr>
          <p:spPr>
            <a:xfrm flipH="1">
              <a:off x="4684380" y="3861048"/>
              <a:ext cx="1039748" cy="1759828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Rectangle 151"/>
            <p:cNvSpPr/>
            <p:nvPr/>
          </p:nvSpPr>
          <p:spPr>
            <a:xfrm>
              <a:off x="5394908" y="764704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istration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2699792" y="782906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</a:p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gin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3564750" y="1446796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5703534" y="2221018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5625796" y="3465004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4490622" y="4236906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2236546" y="3465004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T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2211146" y="2227678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1465412" y="1286962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R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1017700" y="3840862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TR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6432748" y="4271156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S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5724128" y="4956956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6335042" y="1666844"/>
              <a:ext cx="1337332" cy="5040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S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3924666" y="51267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5004048" y="51267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4093350" y="83671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68" name="Straight Connector 167"/>
            <p:cNvCxnSpPr>
              <a:stCxn id="10" idx="2"/>
            </p:cNvCxnSpPr>
            <p:nvPr>
              <p:custDataLst>
                <p:tags r:id="rId58"/>
              </p:custDataLst>
            </p:nvPr>
          </p:nvCxnSpPr>
          <p:spPr>
            <a:xfrm flipH="1" flipV="1">
              <a:off x="3995936" y="1120776"/>
              <a:ext cx="1385540" cy="14401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>
              <a:endCxn id="10" idx="1"/>
            </p:cNvCxnSpPr>
            <p:nvPr>
              <p:custDataLst>
                <p:tags r:id="rId59"/>
              </p:custDataLst>
            </p:nvPr>
          </p:nvCxnSpPr>
          <p:spPr>
            <a:xfrm flipV="1">
              <a:off x="3851920" y="1120776"/>
              <a:ext cx="1385540" cy="14401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Rectangle 178"/>
            <p:cNvSpPr/>
            <p:nvPr/>
          </p:nvSpPr>
          <p:spPr>
            <a:xfrm>
              <a:off x="4675696" y="83671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4943822" y="133583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3850196" y="133583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3608645" y="176990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3925032" y="206226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5181963" y="1746480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4969018" y="208242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5937501" y="294232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5511611" y="294232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4778364" y="391443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2888698" y="294232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347864" y="325785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5133008" y="394763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660056" y="406548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4026151" y="377041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3880405" y="242088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3678058" y="272507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4276086" y="226393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4288216" y="3607780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3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4899245" y="247970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Rectangle 198"/>
            <p:cNvSpPr/>
            <p:nvPr/>
          </p:nvSpPr>
          <p:spPr>
            <a:xfrm>
              <a:off x="5043131" y="272507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2486847" y="412269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Rectangle 200"/>
            <p:cNvSpPr/>
            <p:nvPr/>
          </p:nvSpPr>
          <p:spPr>
            <a:xfrm>
              <a:off x="2236546" y="380580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7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2381914" y="194512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8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2810883" y="169388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9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5923753" y="1795680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6233368" y="204487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1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6219803" y="373329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2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5990468" y="416646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3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5476983" y="452318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4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5220822" y="4892630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5</a:t>
              </a:r>
              <a:endParaRPr lang="cs-CZ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3773754" y="495571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3959932" y="469398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7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4214304" y="4693988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8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4493598" y="4704846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9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4811570" y="5044174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5097137" y="2950852"/>
              <a:ext cx="425890" cy="3972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  <a:endParaRPr lang="cs-CZ" sz="11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18" name="Straight Connector 217"/>
            <p:cNvCxnSpPr>
              <a:stCxn id="20" idx="1"/>
              <a:endCxn id="18" idx="3"/>
            </p:cNvCxnSpPr>
            <p:nvPr>
              <p:custDataLst>
                <p:tags r:id="rId60"/>
              </p:custDataLst>
            </p:nvPr>
          </p:nvCxnSpPr>
          <p:spPr>
            <a:xfrm flipH="1">
              <a:off x="3563888" y="3861048"/>
              <a:ext cx="2160240" cy="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>
              <a:stCxn id="16" idx="1"/>
              <a:endCxn id="17" idx="3"/>
            </p:cNvCxnSpPr>
            <p:nvPr>
              <p:custDataLst>
                <p:tags r:id="rId61"/>
              </p:custDataLst>
            </p:nvPr>
          </p:nvCxnSpPr>
          <p:spPr>
            <a:xfrm flipH="1">
              <a:off x="3563888" y="2420888"/>
              <a:ext cx="2160240" cy="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>
              <a:stCxn id="155" idx="1"/>
              <a:endCxn id="19" idx="0"/>
            </p:cNvCxnSpPr>
            <p:nvPr>
              <p:custDataLst>
                <p:tags r:id="rId62"/>
              </p:custDataLst>
            </p:nvPr>
          </p:nvCxnSpPr>
          <p:spPr>
            <a:xfrm flipH="1">
              <a:off x="4644008" y="2473046"/>
              <a:ext cx="1059526" cy="1892058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>
              <a:stCxn id="17" idx="3"/>
              <a:endCxn id="19" idx="0"/>
            </p:cNvCxnSpPr>
            <p:nvPr>
              <p:custDataLst>
                <p:tags r:id="rId63"/>
              </p:custDataLst>
            </p:nvPr>
          </p:nvCxnSpPr>
          <p:spPr>
            <a:xfrm>
              <a:off x="3563888" y="2420888"/>
              <a:ext cx="1080120" cy="194421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/>
            <p:cNvCxnSpPr>
              <a:stCxn id="11" idx="2"/>
              <a:endCxn id="18" idx="0"/>
            </p:cNvCxnSpPr>
            <p:nvPr>
              <p:custDataLst>
                <p:tags r:id="rId64"/>
              </p:custDataLst>
            </p:nvPr>
          </p:nvCxnSpPr>
          <p:spPr>
            <a:xfrm flipH="1">
              <a:off x="3419872" y="1916832"/>
              <a:ext cx="1188132" cy="180020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>
              <a:endCxn id="20" idx="0"/>
            </p:cNvCxnSpPr>
            <p:nvPr>
              <p:custDataLst>
                <p:tags r:id="rId65"/>
              </p:custDataLst>
            </p:nvPr>
          </p:nvCxnSpPr>
          <p:spPr>
            <a:xfrm>
              <a:off x="4626006" y="1918872"/>
              <a:ext cx="1242138" cy="179816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22840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ojXqiGOkmpkTEs6oyw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hOloNb0KrolJ6k6IT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Q7PPdCoU2szaGqj0A2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r_HO0uqliU_9jrn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PAEbzxvEez8QmayGW_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bFsEKNKkCeiK4PMHp6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eUcX0YFkaYv_yoptry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3syORA5USjZHCr1mqi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5myzXkAkuKUGhMmX8Q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f4oFRO0.i0nGZnqCO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B9KyyH0aojt6Koqbt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e5_faGdkaZwRBo_UMl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FCwcM650S1c0hjyaf.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FyCYHWkaUrLzoZPYF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9MMTOH5EClDpvoR_GN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2zwEU9h0CYzODXFAI1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2grOqJxE.6oQcuF2to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nx1jdEAUep83d6w1Zs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oUuXrYm0mNsbhlL.3a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m4.z2KokCZ4sgvTb0s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YXLd84k.mYhUuarop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0uoOvK7EWO8qxbb758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saXpWKZUWiBRn1odjK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BksmbWzkSlE71wDYKC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OMqei6IEGTZuXRnxIM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hqsIi3wEOuuTl51sCQ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PFGubAzUuJD6oFqwey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4H4eVpckeVyQBb23D2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e5WGmu3k.Fj2B0aape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ye.pOwf0mssLSNuEMo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WE4oxetkOdTHVhSN4X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mZ4Y2uEEWLIHE2Vtq63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yiO6jUAky0KhMrxFMj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vhfOLoYk2vAoQKC15OB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9c0Zpz2kWUoLgTzWUt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cWN_5vk0e0KH.eO5i8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wq7gOpUqnxeQ52KmJ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0qBigdEkaEVYt63Hb9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OYMn9yUWAqBbIbx9X5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YDHfGERE.e1B1.bNdw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GK0FgD3ke4T88QKhmb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fBjsZRn0unGzOvtWJR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8cPtOkBUSwBC6TEZpe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3WhVtiV06ergEvKHXC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zTOYwfgESEK9HAzsaL0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_sVHz4iUyYwf4hPS5Z5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7BvUIhpkWffiZjP2VS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fDHU.GJke2AO0wp.do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TuaNx8MUmcK.ijidUB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nj16yR70msSzn3WP0W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f4oFRO0.i0nGZnqCOe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f4oFRO0.i0nGZnqCO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s2mq1oU0yJ0ez4eRDS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leKCBeoUWfpSclkpGq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AcBZ1y3kya16Hu5kf9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r_v7STzkqOts2dQjFg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fYCbbkG0e5hsOiJDdJ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</TotalTime>
  <Words>137</Words>
  <Application>Microsoft Office PowerPoint</Application>
  <PresentationFormat>On-screen Show (4:3)</PresentationFormat>
  <Paragraphs>90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think-cell Slide</vt:lpstr>
      <vt:lpstr>CinemaSea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2</cp:revision>
  <dcterms:created xsi:type="dcterms:W3CDTF">2016-05-23T17:43:41Z</dcterms:created>
  <dcterms:modified xsi:type="dcterms:W3CDTF">2016-05-23T22:36:53Z</dcterms:modified>
</cp:coreProperties>
</file>